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309" r:id="rId2"/>
    <p:sldId id="3602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2A3355B7-9F6F-494E-8D8C-34D5BFBDAED0}"/>
    <pc:docChg chg="modSld">
      <pc:chgData name="Vasilis Karastergios" userId="2aa9c0a1-323b-48aa-83e0-abc8de3a69d0" providerId="ADAL" clId="{2A3355B7-9F6F-494E-8D8C-34D5BFBDAED0}" dt="2024-02-13T13:07:20.806" v="3" actId="20577"/>
      <pc:docMkLst>
        <pc:docMk/>
      </pc:docMkLst>
      <pc:sldChg chg="modSp mod modNotesTx">
        <pc:chgData name="Vasilis Karastergios" userId="2aa9c0a1-323b-48aa-83e0-abc8de3a69d0" providerId="ADAL" clId="{2A3355B7-9F6F-494E-8D8C-34D5BFBDAED0}" dt="2024-02-13T13:07:20.806" v="3" actId="20577"/>
        <pc:sldMkLst>
          <pc:docMk/>
          <pc:sldMk cId="1158810486" sldId="309"/>
        </pc:sldMkLst>
        <pc:spChg chg="mod">
          <ac:chgData name="Vasilis Karastergios" userId="2aa9c0a1-323b-48aa-83e0-abc8de3a69d0" providerId="ADAL" clId="{2A3355B7-9F6F-494E-8D8C-34D5BFBDAED0}" dt="2024-02-13T13:07:20.806" v="3" actId="20577"/>
          <ac:spMkLst>
            <pc:docMk/>
            <pc:sldMk cId="1158810486" sldId="309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2A3355B7-9F6F-494E-8D8C-34D5BFBDAED0}" dt="2024-02-13T13:06:56.860" v="1" actId="6549"/>
        <pc:sldMkLst>
          <pc:docMk/>
          <pc:sldMk cId="1948550152" sldId="3602"/>
        </pc:sldMkLst>
      </pc:sldChg>
    </pc:docChg>
  </pc:docChgLst>
  <pc:docChgLst>
    <pc:chgData name="Vasilis Karastergios" userId="2aa9c0a1-323b-48aa-83e0-abc8de3a69d0" providerId="ADAL" clId="{4DBB0F24-3036-4C12-B6A3-0BF1C31132EF}"/>
    <pc:docChg chg="addSld delSld modSld">
      <pc:chgData name="Vasilis Karastergios" userId="2aa9c0a1-323b-48aa-83e0-abc8de3a69d0" providerId="ADAL" clId="{4DBB0F24-3036-4C12-B6A3-0BF1C31132EF}" dt="2023-03-10T11:29:35.673" v="3"/>
      <pc:docMkLst>
        <pc:docMk/>
      </pc:docMkLst>
      <pc:sldChg chg="add del">
        <pc:chgData name="Vasilis Karastergios" userId="2aa9c0a1-323b-48aa-83e0-abc8de3a69d0" providerId="ADAL" clId="{4DBB0F24-3036-4C12-B6A3-0BF1C31132EF}" dt="2023-03-10T11:29:35.673" v="3"/>
        <pc:sldMkLst>
          <pc:docMk/>
          <pc:sldMk cId="1158810486" sldId="309"/>
        </pc:sldMkLst>
      </pc:sldChg>
      <pc:sldChg chg="del">
        <pc:chgData name="Vasilis Karastergios" userId="2aa9c0a1-323b-48aa-83e0-abc8de3a69d0" providerId="ADAL" clId="{4DBB0F24-3036-4C12-B6A3-0BF1C31132EF}" dt="2023-03-10T11:20:40.025" v="0" actId="47"/>
        <pc:sldMkLst>
          <pc:docMk/>
          <pc:sldMk cId="2673167439" sldId="360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E15A0A-8525-441B-A9FB-A82ABBEAAF07}" type="datetimeFigureOut">
              <a:rPr lang="en-US" smtClean="0"/>
              <a:t>2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0942F7-C39E-40DC-B0E9-9E9F9F85B3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348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6347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935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09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8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16600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649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88209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59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08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2487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79766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112417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176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92343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39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45676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99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822525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5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4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013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6842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67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734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68709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5192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21207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69404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91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3.jpeg"/><Relationship Id="rId7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</a:t>
            </a:r>
            <a:r>
              <a:rPr lang="en-US" cap="none" dirty="0"/>
              <a:t>SIMULATION EXTENST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33776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D96EE8-9E3D-44CE-9A10-C6F17CD482B1}"/>
              </a:ext>
            </a:extLst>
          </p:cNvPr>
          <p:cNvGrpSpPr/>
          <p:nvPr/>
        </p:nvGrpSpPr>
        <p:grpSpPr>
          <a:xfrm>
            <a:off x="5810588" y="1371889"/>
            <a:ext cx="6071457" cy="5126783"/>
            <a:chOff x="6162731" y="1622819"/>
            <a:chExt cx="6071457" cy="5126783"/>
          </a:xfrm>
        </p:grpSpPr>
        <p:pic>
          <p:nvPicPr>
            <p:cNvPr id="10" name="Picture 2" descr="D:\000 - CAD Sales Enablement\000 - FY16 CAD Core Plays\FY16 Direct Package Upgrade Play\images\automotive-33-bg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2731" y="3043966"/>
              <a:ext cx="4141747" cy="3141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7" descr="D:\000 - CAD Sales Enablement\000 - FY16 CAD Core Plays\FY16 Direct Package Upgrade Play\images\structural-mechanics-products-bolt-bracket-assembly-sm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04478" y="3043966"/>
              <a:ext cx="1707674" cy="1518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9" descr="D:\000 - CAD Sales Enablement\000 - FY16 CAD Core Plays\FY16 Direct Package Upgrade Play\images\fea_examples01full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03112" y="1622819"/>
              <a:ext cx="1679299" cy="1830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0" descr="D:\000 - CAD Sales Enablement\000 - FY16 CAD Core Plays\FY16 Direct Package Upgrade Play\images\fea_examples02full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79006" y="4849315"/>
              <a:ext cx="2855182" cy="1900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2" descr="D:\000 - CAD Sales Enablement\000 - FY16 CAD Core Plays\SmartHomeSystemIcon.png">
            <a:hlinkClick r:id="rId7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503925" y="1866900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54779" y="1856740"/>
            <a:ext cx="4967373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503925" y="2658111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54783" y="2658111"/>
            <a:ext cx="3430122" cy="1188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product lifecycle cos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product development cost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503925" y="3909824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54779" y="3940304"/>
            <a:ext cx="3891842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near static structural analysi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tatic structural analysis with small displacemen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Modal structural analysi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near buckling structural analysi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near steady state thermal analysi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503925" y="5441469"/>
            <a:ext cx="1510147" cy="7604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54780" y="5461789"/>
            <a:ext cx="4241405" cy="760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amless integration of design and analysi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11057" y="1866903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11057" y="2658111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11057" y="3909821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11057" y="5441468"/>
            <a:ext cx="0" cy="76047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81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83E8D56-6E1B-42D3-B523-F6A4BDF20E70}"/>
              </a:ext>
            </a:extLst>
          </p:cNvPr>
          <p:cNvSpPr txBox="1">
            <a:spLocks/>
          </p:cNvSpPr>
          <p:nvPr/>
        </p:nvSpPr>
        <p:spPr>
          <a:xfrm>
            <a:off x="495300" y="5924144"/>
            <a:ext cx="9990933" cy="4766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D585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Note: Creo Parametric includes Simulation “lite” capabilities</a:t>
            </a:r>
          </a:p>
          <a:p>
            <a:pPr marL="216000" marR="0" lvl="0" indent="-21600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implified wizard UI, basic loads and constraints, limitations on number of surfaces  </a:t>
            </a:r>
          </a:p>
          <a:p>
            <a:pPr marL="173038" marR="0" lvl="0" indent="-17145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585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  <a:p>
            <a:pPr marL="273582" marR="0" lvl="0" indent="-273582" algn="l" defTabSz="108677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D585A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21F8E890-12CD-422D-B49C-23D6B108F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Product Overview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4A110093-2F3C-44D1-8512-5B36D21786C4}"/>
              </a:ext>
            </a:extLst>
          </p:cNvPr>
          <p:cNvGraphicFramePr>
            <a:graphicFrameLocks/>
          </p:cNvGraphicFramePr>
          <p:nvPr/>
        </p:nvGraphicFramePr>
        <p:xfrm>
          <a:off x="495300" y="1311435"/>
          <a:ext cx="11277599" cy="438357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5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8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15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56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(linear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static structural analysis)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PTC Creo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TC Creo Advanced 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Analysis for Parts and Assembl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Static Structur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Modeling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Automatic Mesh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sults Display &amp; Report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dal &amp; Buckling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teady State Thermal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esign Optim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anced Finite Element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nlinear Materials &amp; Large Deform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 &amp; Pre-stress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nsient &amp; Nonlinear Therm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827792"/>
                  </a:ext>
                </a:extLst>
              </a:tr>
            </a:tbl>
          </a:graphicData>
        </a:graphic>
      </p:graphicFrame>
      <p:pic>
        <p:nvPicPr>
          <p:cNvPr id="7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3E0F4A4-EEF6-4E21-93E3-11D656E55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90302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5501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224</Words>
  <Application>Microsoft Office PowerPoint</Application>
  <PresentationFormat>Widescreen</PresentationFormat>
  <Paragraphs>7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S PGothic</vt:lpstr>
      <vt:lpstr>Arial</vt:lpstr>
      <vt:lpstr>Arial Narrow</vt:lpstr>
      <vt:lpstr>Calibri</vt:lpstr>
      <vt:lpstr>PTCRaleway</vt:lpstr>
      <vt:lpstr>Wingdings</vt:lpstr>
      <vt:lpstr>PTC PowerPoint Template</vt:lpstr>
      <vt:lpstr>think-cell Slide</vt:lpstr>
      <vt:lpstr>CREO SIMULATION EXTENSTION  </vt:lpstr>
      <vt:lpstr>Creo Simulation Product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Simulation Elite Capabilities</dc:title>
  <dc:creator>Vasilis Karastergios</dc:creator>
  <cp:lastModifiedBy>Vasilis Karastergios</cp:lastModifiedBy>
  <cp:revision>1</cp:revision>
  <dcterms:created xsi:type="dcterms:W3CDTF">2023-03-10T10:15:02Z</dcterms:created>
  <dcterms:modified xsi:type="dcterms:W3CDTF">2024-02-13T13:07:22Z</dcterms:modified>
</cp:coreProperties>
</file>